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7"/>
  </p:notesMasterIdLst>
  <p:sldIdLst>
    <p:sldId id="666" r:id="rId2"/>
    <p:sldId id="684" r:id="rId3"/>
    <p:sldId id="677" r:id="rId4"/>
    <p:sldId id="687" r:id="rId5"/>
    <p:sldId id="636" r:id="rId6"/>
    <p:sldId id="693" r:id="rId7"/>
    <p:sldId id="685" r:id="rId8"/>
    <p:sldId id="692" r:id="rId9"/>
    <p:sldId id="691" r:id="rId10"/>
    <p:sldId id="683" r:id="rId11"/>
    <p:sldId id="678" r:id="rId12"/>
    <p:sldId id="680" r:id="rId13"/>
    <p:sldId id="639" r:id="rId14"/>
    <p:sldId id="690" r:id="rId15"/>
    <p:sldId id="688" r:id="rId16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0432" autoAdjust="0"/>
    <p:restoredTop sz="82642" autoAdjust="0"/>
  </p:normalViewPr>
  <p:slideViewPr>
    <p:cSldViewPr snapToGrid="0">
      <p:cViewPr varScale="1">
        <p:scale>
          <a:sx n="76" d="100"/>
          <a:sy n="76" d="100"/>
        </p:scale>
        <p:origin x="-1064" y="-1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printerSettings" Target="printerSettings/printerSettings1.bin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3508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fld id="{C81E8C18-CB2A-4FE4-83B4-F0BEC9C01975}" type="datetimeFigureOut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7938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98" tIns="47549" rIns="95098" bIns="47549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5098" tIns="47549" rIns="95098" bIns="47549" rtlCol="0"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8427" cy="513507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3" y="9721107"/>
            <a:ext cx="3078427" cy="513507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fld id="{42F0C861-88B6-485E-B75E-03656D5AA10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003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9" Type="http://schemas.openxmlformats.org/officeDocument/2006/relationships/hyperlink" Target="https://en.wikipedia.org/wiki/Euler's_identity%23cite_note-7" TargetMode="External"/><Relationship Id="rId20" Type="http://schemas.openxmlformats.org/officeDocument/2006/relationships/hyperlink" Target="https://en.wikipedia.org/wiki/Electromagnetism" TargetMode="External"/><Relationship Id="rId21" Type="http://schemas.openxmlformats.org/officeDocument/2006/relationships/hyperlink" Target="https://en.wikipedia.org/wiki/Euler's_identity%23cite_note-11" TargetMode="External"/><Relationship Id="rId10" Type="http://schemas.openxmlformats.org/officeDocument/2006/relationships/hyperlink" Target="https://en.wikipedia.org/wiki/Constance_Reid" TargetMode="External"/><Relationship Id="rId11" Type="http://schemas.openxmlformats.org/officeDocument/2006/relationships/hyperlink" Target="https://en.wikipedia.org/wiki/Euler's_identity%23cite_note-8" TargetMode="External"/><Relationship Id="rId12" Type="http://schemas.openxmlformats.org/officeDocument/2006/relationships/hyperlink" Target="https://en.wikipedia.org/wiki/Benjamin_Peirce" TargetMode="External"/><Relationship Id="rId13" Type="http://schemas.openxmlformats.org/officeDocument/2006/relationships/hyperlink" Target="https://en.wikipedia.org/wiki/Philosopher" TargetMode="External"/><Relationship Id="rId14" Type="http://schemas.openxmlformats.org/officeDocument/2006/relationships/hyperlink" Target="https://en.wikipedia.org/wiki/Harvard_University" TargetMode="External"/><Relationship Id="rId15" Type="http://schemas.openxmlformats.org/officeDocument/2006/relationships/hyperlink" Target="https://en.wikipedia.org/wiki/Euler's_identity%23cite_note-9" TargetMode="External"/><Relationship Id="rId16" Type="http://schemas.openxmlformats.org/officeDocument/2006/relationships/hyperlink" Target="https://en.wikipedia.org/wiki/The_Mathematical_Intelligencer" TargetMode="External"/><Relationship Id="rId17" Type="http://schemas.openxmlformats.org/officeDocument/2006/relationships/hyperlink" Target="https://en.wikipedia.org/wiki/Euler's_identity%23cite_note-10" TargetMode="External"/><Relationship Id="rId18" Type="http://schemas.openxmlformats.org/officeDocument/2006/relationships/hyperlink" Target="https://en.wikipedia.org/wiki/Physics_World" TargetMode="External"/><Relationship Id="rId19" Type="http://schemas.openxmlformats.org/officeDocument/2006/relationships/hyperlink" Target="https://en.wikipedia.org/wiki/Maxwell's_equations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Relationship Id="rId3" Type="http://schemas.openxmlformats.org/officeDocument/2006/relationships/hyperlink" Target="https://en.wikipedia.org/wiki/Stanford_University" TargetMode="External"/><Relationship Id="rId4" Type="http://schemas.openxmlformats.org/officeDocument/2006/relationships/hyperlink" Target="https://en.wikipedia.org/wiki/Keith_Devlin" TargetMode="External"/><Relationship Id="rId5" Type="http://schemas.openxmlformats.org/officeDocument/2006/relationships/hyperlink" Target="https://en.wikipedia.org/wiki/Euler's_identity%23cite_note-6" TargetMode="External"/><Relationship Id="rId6" Type="http://schemas.openxmlformats.org/officeDocument/2006/relationships/hyperlink" Target="https://en.wikipedia.org/wiki/University_of_New_Hampshire" TargetMode="External"/><Relationship Id="rId7" Type="http://schemas.openxmlformats.org/officeDocument/2006/relationships/hyperlink" Target="https://en.wikipedia.org/wiki/Euler's_formula" TargetMode="External"/><Relationship Id="rId8" Type="http://schemas.openxmlformats.org/officeDocument/2006/relationships/hyperlink" Target="https://en.wikipedia.org/wiki/Fourier_analysi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F0C861-88B6-485E-B75E-03656D5AA10F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516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 smtClean="0"/>
              <a:t>如果内裤上有数学公式， 一定有不少数学粉丝会买</a:t>
            </a: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F0C861-88B6-485E-B75E-03656D5AA10F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39075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数学家就是把咖啡变成定理的机器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F0C861-88B6-485E-B75E-03656D5AA10F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10084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这位狗狗的主人一定是位数学狂热粉丝</a:t>
            </a:r>
            <a:endParaRPr kumimoji="1" lang="en-US" altLang="zh-CN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F0C861-88B6-485E-B75E-03656D5AA10F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4489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4275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kumimoji="1" lang="en-US" altLang="zh-CN" dirty="0" smtClean="0"/>
              <a:t>In 1988, a Mathematical Intelligencer poll voted Euler’s identity as the most beautiful feat of all of mathematics.</a:t>
            </a:r>
          </a:p>
          <a:p>
            <a:r>
              <a:rPr kumimoji="1" lang="en-US" altLang="zh-CN" dirty="0" smtClean="0"/>
              <a:t>《</a:t>
            </a:r>
            <a:r>
              <a:rPr kumimoji="1" lang="zh-CN" altLang="en-US" dirty="0" smtClean="0"/>
              <a:t>数学信使</a:t>
            </a:r>
            <a:r>
              <a:rPr kumimoji="1" lang="en-US" altLang="zh-CN" dirty="0" smtClean="0"/>
              <a:t>》</a:t>
            </a:r>
            <a:r>
              <a:rPr kumimoji="1" lang="zh-CN" altLang="en-US" dirty="0" smtClean="0"/>
              <a:t>杂志将她评为最美的数学定理。</a:t>
            </a:r>
            <a:r>
              <a:rPr kumimoji="1" lang="en-US" altLang="zh-CN" dirty="0" smtClean="0"/>
              <a:t>2004</a:t>
            </a:r>
            <a:r>
              <a:rPr kumimoji="1" lang="zh-CN" altLang="en-US" dirty="0" smtClean="0"/>
              <a:t>年</a:t>
            </a:r>
            <a:r>
              <a:rPr kumimoji="1" lang="en-US" altLang="zh-CN" dirty="0" smtClean="0"/>
              <a:t>《</a:t>
            </a:r>
            <a:r>
              <a:rPr kumimoji="1" lang="zh-CN" altLang="en-US" dirty="0" smtClean="0"/>
              <a:t>物理世界</a:t>
            </a:r>
            <a:r>
              <a:rPr kumimoji="1" lang="en-US" altLang="zh-CN" dirty="0" smtClean="0"/>
              <a:t>》</a:t>
            </a:r>
            <a:r>
              <a:rPr kumimoji="1" lang="zh-CN" altLang="en-US" dirty="0" smtClean="0"/>
              <a:t>杂志，将她和麦克思韦方程组一起列为最伟大的等式。</a:t>
            </a:r>
          </a:p>
          <a:p>
            <a:endParaRPr kumimoji="1" lang="en-US" altLang="zh-CN" dirty="0" smtClean="0"/>
          </a:p>
          <a:p>
            <a:endParaRPr kumimoji="1" lang="en-US" altLang="zh-CN" dirty="0" smtClean="0"/>
          </a:p>
          <a:p>
            <a:r>
              <a:rPr kumimoji="1" lang="en-US" altLang="zh-CN" dirty="0" smtClean="0"/>
              <a:t>In 1990, a Mathematical Intelligencer poll voted Euler’s identity as the most beautiful feat of all of mathematics.</a:t>
            </a:r>
          </a:p>
          <a:p>
            <a:r>
              <a:rPr kumimoji="1" lang="en-US" altLang="zh-CN" dirty="0" smtClean="0"/>
              <a:t>《</a:t>
            </a:r>
            <a:r>
              <a:rPr kumimoji="1" lang="zh-CN" altLang="en-US" dirty="0" smtClean="0"/>
              <a:t>数学信使</a:t>
            </a:r>
            <a:r>
              <a:rPr kumimoji="1" lang="en-US" altLang="zh-CN" dirty="0" smtClean="0"/>
              <a:t>》</a:t>
            </a:r>
            <a:r>
              <a:rPr kumimoji="1" lang="zh-CN" altLang="en-US" dirty="0" smtClean="0"/>
              <a:t>杂志将她评为最美的数学定理。</a:t>
            </a:r>
            <a:r>
              <a:rPr kumimoji="1" lang="en-US" altLang="zh-CN" dirty="0" smtClean="0"/>
              <a:t>2004</a:t>
            </a:r>
            <a:r>
              <a:rPr kumimoji="1" lang="zh-CN" altLang="en-US" dirty="0" smtClean="0"/>
              <a:t>年</a:t>
            </a:r>
            <a:r>
              <a:rPr kumimoji="1" lang="en-US" altLang="zh-CN" dirty="0" smtClean="0"/>
              <a:t>《</a:t>
            </a:r>
            <a:r>
              <a:rPr kumimoji="1" lang="zh-CN" altLang="en-US" dirty="0" smtClean="0"/>
              <a:t>物理世界</a:t>
            </a:r>
            <a:r>
              <a:rPr kumimoji="1" lang="en-US" altLang="zh-CN" dirty="0" smtClean="0"/>
              <a:t>》</a:t>
            </a:r>
            <a:r>
              <a:rPr kumimoji="1" lang="zh-CN" altLang="en-US" dirty="0" smtClean="0"/>
              <a:t>杂志，将她和麦克思韦方程组一起列为最伟大的等式。</a:t>
            </a:r>
            <a:endParaRPr kumimoji="1" lang="en-US" altLang="zh-CN" dirty="0" smtClean="0"/>
          </a:p>
          <a:p>
            <a:endParaRPr kumimoji="1" lang="en-US" altLang="zh-CN" dirty="0" smtClean="0"/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2 A poll of readers conducted by The Mathematical Intelligencer in 1990 named     Euler's identity as the "most beautiful theorem in mathematics".[9] In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anoth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  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er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poll of readers that was conducted by Physics World in 2004, Euler's identity tied with Maxwell's equations (of electromagnetism) as the "greatest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eq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  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uation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ever".[10] 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她端庄大方，秀外慧中，简洁包含着深刻。悬挂于巴黎发明宫数学陈列室的间墙，如莎士比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亚的十四行诗，达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·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芬奇的蒙娜丽莎，王羲之的兰亭集序，人人都可驻足欣赏，顶礼膜拜。</a:t>
            </a:r>
          </a:p>
          <a:p>
            <a:endParaRPr lang="zh-CN" altLang="en-US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   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《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数学信使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》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杂志将她评为最美的数学定理。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2004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《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物理世界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》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杂志，将她和麦克思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韦方程组一起列为最伟大的等式。</a:t>
            </a:r>
          </a:p>
          <a:p>
            <a:endParaRPr lang="zh-CN" altLang="en-US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       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《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欧拉神话般的公式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》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的作者，在书中称她为“数学美的典范”。</a:t>
            </a:r>
          </a:p>
          <a:p>
            <a:endParaRPr lang="zh-CN" altLang="en-US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            康斯坦斯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·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里德称她为“最卓越的数学公式”，而理查德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·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费曼把她唤作“欧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拉的宝石”。伟大的高斯更是语出惊人：“ 如果被告知这个公式的学生不能立即领略的风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rPr>
              <a:t>采，这个学生将永远不会成为一流的数学家。” 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endParaRPr lang="en-US" altLang="zh-CN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endParaRPr lang="en-US" altLang="zh-CN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3" tooltip="Stanford University"/>
              </a:rPr>
              <a:t>Stanford University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mathematics professor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4" tooltip="Keith Devlin"/>
              </a:rPr>
              <a:t>Keith Devlin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has said, "like a Shakespearean sonnet that captures the very essence of love, or a painting that brings out the beauty of the human form that is far more than just skin deep, Euler's equation reaches down into the very depths of existence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5"/>
              </a:rPr>
              <a:t>[5]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And Paul </a:t>
            </a:r>
            <a:r>
              <a:rPr lang="en-US" altLang="zh-CN" sz="1200" kern="1200" dirty="0" err="1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Nahin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a professor emeritus at the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6" tooltip="University of New Hampshire"/>
              </a:rPr>
              <a:t>University of New Hampshire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who has written a book dedicated to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7" tooltip="Euler's formula"/>
              </a:rPr>
              <a:t>Euler's formula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and its applications in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8" tooltip="Fourier analysis"/>
              </a:rPr>
              <a:t>Fourier analysis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describes Euler's identity as being "of exquisite beauty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9"/>
              </a:rPr>
              <a:t>[6]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The mathematics writer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0" tooltip="Constance Reid"/>
              </a:rPr>
              <a:t>Constance Reid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has opined that Euler's identity is "the most famous formula in all mathematics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1"/>
              </a:rPr>
              <a:t>[7]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And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2" tooltip="Benjamin Peirce"/>
              </a:rPr>
              <a:t>Benjamin Peirce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a noted American 19th-century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3" tooltip="Philosopher"/>
              </a:rPr>
              <a:t>philosopher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mathematician, and professor at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4" tooltip="Harvard University"/>
              </a:rPr>
              <a:t>Harvard University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, after proving Euler's identity during a lecture, stated that the identity "is absolutely paradoxical; we cannot understand it, and we don't know what it means, but we have proved it, and therefore we know it must be the truth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5"/>
              </a:rPr>
              <a:t>[8]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A poll of readers conducted by </a:t>
            </a:r>
            <a:r>
              <a:rPr lang="en-US" altLang="zh-CN" sz="120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6" tooltip="The Mathematical Intelligencer"/>
              </a:rPr>
              <a:t>The Mathematical Intelligencer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in 1990 named Euler's identity as the "most beautiful theorem in mathematics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7"/>
              </a:rPr>
              <a:t>[9]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In another poll of readers that was conducted by </a:t>
            </a:r>
            <a:r>
              <a:rPr lang="en-US" altLang="zh-CN" sz="120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8" tooltip="Physics World"/>
              </a:rPr>
              <a:t>Physics World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in 2004, Euler's identity tied with </a:t>
            </a:r>
            <a:r>
              <a:rPr lang="en-US" altLang="zh-CN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19" tooltip="Maxwell's equations"/>
              </a:rPr>
              <a:t>Maxwell's equations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(</a:t>
            </a:r>
            <a:r>
              <a:rPr lang="en-US" altLang="zh-CN" sz="1200" kern="1200" dirty="0" err="1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of</a:t>
            </a:r>
            <a:r>
              <a:rPr lang="en-US" altLang="zh-CN" sz="120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20" tooltip="Electromagnetism"/>
              </a:rPr>
              <a:t>electromagnetism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) as the "greatest equation ever".</a:t>
            </a:r>
            <a:r>
              <a:rPr lang="en-US" altLang="zh-CN" sz="120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  <a:hlinkClick r:id="rId21"/>
              </a:rPr>
              <a:t>[10]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微软雅黑" panose="020B0503020204020204" pitchFamily="34" charset="-122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微软雅黑" panose="020B0503020204020204" pitchFamily="34" charset="-122"/>
                <a:cs typeface="+mn-cs"/>
              </a:rPr>
              <a:t> 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微软雅黑" panose="020B0503020204020204" pitchFamily="34" charset="-122"/>
              <a:cs typeface="+mn-cs"/>
            </a:endParaRPr>
          </a:p>
          <a:p>
            <a:endParaRPr lang="en-US" altLang="zh-CN" sz="1200" kern="1200" dirty="0" smtClean="0">
              <a:solidFill>
                <a:schemeClr val="tx1"/>
              </a:solidFill>
              <a:latin typeface="+mn-lt"/>
              <a:ea typeface="微软雅黑" panose="020B0503020204020204" pitchFamily="34" charset="-122"/>
              <a:cs typeface="+mn-cs"/>
            </a:endParaRPr>
          </a:p>
          <a:p>
            <a:endParaRPr lang="zh-CN" altLang="en-US" dirty="0" smtClean="0"/>
          </a:p>
        </p:txBody>
      </p:sp>
      <p:sp>
        <p:nvSpPr>
          <p:cNvPr id="54276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0F1F2A-F99E-4455-A7F2-74D9D09D90C5}" type="slidenum">
              <a:rPr lang="en-US" altLang="zh-CN" smtClean="0"/>
              <a:pPr/>
              <a:t>10</a:t>
            </a:fld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3981141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97866034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854720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35354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742072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05480735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616986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3880107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7220919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5683833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4263548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584313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微软雅黑" pitchFamily="34" charset="-122"/>
              </a:defRPr>
            </a:lvl1pPr>
          </a:lstStyle>
          <a:p>
            <a:fld id="{601D8401-246D-4080-A9E2-FFF3D9452E05}" type="datetime1">
              <a:rPr lang="zh-CN" altLang="en-US" smtClean="0"/>
              <a:pPr/>
              <a:t>15-12-13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微软雅黑" pitchFamily="34" charset="-122"/>
              </a:defRPr>
            </a:lvl1pPr>
          </a:lstStyle>
          <a:p>
            <a:fld id="{D808AE46-2892-4F68-A6A1-7161D6D51E8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7128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0.png"/><Relationship Id="rId3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jpeg"/><Relationship Id="rId3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jpeg"/><Relationship Id="rId7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6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618245" y="1296976"/>
            <a:ext cx="7909035" cy="3503624"/>
          </a:xfrm>
        </p:spPr>
        <p:txBody>
          <a:bodyPr>
            <a:normAutofit fontScale="90000"/>
          </a:bodyPr>
          <a:lstStyle/>
          <a:p>
            <a:pPr lvl="0"/>
            <a:r>
              <a:rPr lang="zh-CN" altLang="en-US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传奇</a:t>
            </a:r>
            <a:r>
              <a:rPr lang="en-US" altLang="zh-CN" sz="15600" dirty="0" smtClean="0">
                <a:solidFill>
                  <a:schemeClr val="bg1"/>
                </a:solidFill>
                <a:latin typeface="Big Caslon"/>
                <a:ea typeface="AppleGothic"/>
                <a:cs typeface="Big Caslon"/>
              </a:rPr>
              <a:t>e</a:t>
            </a:r>
            <a:r>
              <a:rPr lang="zh-CN" altLang="en-US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事</a:t>
            </a:r>
            <a: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 —</a:t>
            </a:r>
            <a:b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</a:br>
            <a: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e </a:t>
            </a:r>
            <a:r>
              <a:rPr lang="zh-CN" altLang="en-US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粉情缘</a:t>
            </a:r>
            <a: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/>
            </a:r>
            <a:b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</a:br>
            <a: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/>
            </a:r>
            <a:br>
              <a:rPr lang="en-US" altLang="zh-CN" sz="6600" dirty="0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</a:br>
            <a:r>
              <a:rPr lang="en-US" altLang="zh-CN" sz="6600" dirty="0" err="1" smtClean="0">
                <a:solidFill>
                  <a:schemeClr val="bg1"/>
                </a:solidFill>
                <a:latin typeface="方正姚体简体" pitchFamily="65" charset="-122"/>
                <a:ea typeface="方正姚体简体" pitchFamily="65" charset="-122"/>
              </a:rPr>
              <a:t>rickjin</a:t>
            </a:r>
            <a:endParaRPr lang="zh-CN" altLang="en-US" sz="6600" dirty="0">
              <a:solidFill>
                <a:schemeClr val="bg1"/>
              </a:solidFill>
              <a:latin typeface="方正姚体简体" pitchFamily="65" charset="-122"/>
              <a:ea typeface="方正姚体简体" pitchFamily="65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988" y="691515"/>
            <a:ext cx="4933950" cy="550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1364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82"/>
    </mc:Choice>
    <mc:Fallback>
      <p:transition xmlns:p14="http://schemas.microsoft.com/office/powerpoint/2010/main" spd="slow" advTm="582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9078" y="312319"/>
            <a:ext cx="11570931" cy="933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 eaLnBrk="0" hangingPunct="0"/>
            <a:r>
              <a:rPr lang="zh-CN" altLang="en-US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最美丽的数学公式 </a:t>
            </a:r>
            <a:r>
              <a:rPr lang="en-US" altLang="zh-CN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---</a:t>
            </a:r>
            <a:r>
              <a:rPr lang="zh-CN" altLang="en-US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Euler</a:t>
            </a:r>
            <a:r>
              <a:rPr lang="zh-CN" altLang="en-US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4400" b="1" dirty="0" smtClean="0">
                <a:solidFill>
                  <a:srgbClr val="313742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Identity</a:t>
            </a: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02545" y="2765316"/>
            <a:ext cx="3874970" cy="38749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48849" y="1402214"/>
            <a:ext cx="6004618" cy="1847964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8303343" y="3746938"/>
            <a:ext cx="1826141" cy="20621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dirty="0" smtClean="0">
                <a:latin typeface="Microsoft YaHei"/>
                <a:ea typeface="Microsoft YaHei"/>
                <a:cs typeface="Microsoft YaHei"/>
              </a:rPr>
              <a:t>五朵金花</a:t>
            </a:r>
            <a:endParaRPr lang="en-US" altLang="zh-CN" sz="3200" dirty="0" smtClean="0">
              <a:latin typeface="Microsoft YaHei"/>
              <a:ea typeface="Microsoft YaHei"/>
              <a:cs typeface="Microsoft YaHei"/>
            </a:endParaRPr>
          </a:p>
          <a:p>
            <a:r>
              <a:rPr lang="zh-CN" altLang="en-US" sz="3200" dirty="0" smtClean="0">
                <a:latin typeface="Microsoft YaHei"/>
                <a:ea typeface="Microsoft YaHei"/>
                <a:cs typeface="Microsoft YaHei"/>
              </a:rPr>
              <a:t>各放异彩</a:t>
            </a:r>
            <a:endParaRPr lang="en-US" altLang="zh-CN" sz="3200" dirty="0" smtClean="0">
              <a:latin typeface="Microsoft YaHei"/>
              <a:ea typeface="Microsoft YaHei"/>
              <a:cs typeface="Microsoft YaHei"/>
            </a:endParaRPr>
          </a:p>
          <a:p>
            <a:r>
              <a:rPr lang="zh-CN" altLang="en-US" sz="3200" dirty="0" smtClean="0">
                <a:latin typeface="Microsoft YaHei"/>
                <a:ea typeface="Microsoft YaHei"/>
                <a:cs typeface="Microsoft YaHei"/>
              </a:rPr>
              <a:t>天造地设</a:t>
            </a:r>
            <a:endParaRPr lang="en-US" altLang="zh-CN" sz="3200" dirty="0" smtClean="0">
              <a:latin typeface="Microsoft YaHei"/>
              <a:ea typeface="Microsoft YaHei"/>
              <a:cs typeface="Microsoft YaHei"/>
            </a:endParaRPr>
          </a:p>
          <a:p>
            <a:r>
              <a:rPr lang="zh-CN" altLang="en-US" sz="3200" dirty="0" smtClean="0">
                <a:latin typeface="Microsoft YaHei"/>
                <a:ea typeface="Microsoft YaHei"/>
                <a:cs typeface="Microsoft YaHei"/>
              </a:rPr>
              <a:t>珠联璧合</a:t>
            </a:r>
            <a:endParaRPr lang="zh-CN" altLang="en-US" sz="3200" dirty="0">
              <a:latin typeface="Microsoft YaHei"/>
              <a:ea typeface="Microsoft YaHei"/>
              <a:cs typeface="Microsoft YaHei"/>
            </a:endParaRPr>
          </a:p>
        </p:txBody>
      </p:sp>
    </p:spTree>
    <p:extLst>
      <p:ext uri="{BB962C8B-B14F-4D97-AF65-F5344CB8AC3E}">
        <p14:creationId xmlns:p14="http://schemas.microsoft.com/office/powerpoint/2010/main" val="689659971"/>
      </p:ext>
    </p:extLst>
  </p:cSld>
  <p:clrMapOvr>
    <a:masterClrMapping/>
  </p:clrMapOvr>
  <p:transition xmlns:p14="http://schemas.microsoft.com/office/powerpoint/2010/main" advTm="163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kumimoji="1" lang="en-US" altLang="zh-CN" b="1" dirty="0" smtClean="0"/>
              <a:t>e:</a:t>
            </a:r>
            <a:r>
              <a:rPr kumimoji="1" lang="zh-CN" altLang="en-US" b="1" dirty="0" smtClean="0"/>
              <a:t> </a:t>
            </a:r>
            <a:r>
              <a:rPr kumimoji="1" lang="en-US" altLang="zh-CN" b="1" dirty="0" smtClean="0"/>
              <a:t> The</a:t>
            </a:r>
            <a:r>
              <a:rPr kumimoji="1" lang="zh-CN" altLang="en-US" b="1" dirty="0" smtClean="0"/>
              <a:t> </a:t>
            </a:r>
            <a:r>
              <a:rPr kumimoji="1" lang="en-US" altLang="zh-CN" b="1" dirty="0" smtClean="0"/>
              <a:t>Master</a:t>
            </a:r>
            <a:r>
              <a:rPr kumimoji="1" lang="zh-CN" altLang="en-US" b="1" dirty="0" smtClean="0"/>
              <a:t> </a:t>
            </a:r>
            <a:r>
              <a:rPr kumimoji="1" lang="en-US" altLang="zh-CN" b="1" dirty="0" smtClean="0"/>
              <a:t>of</a:t>
            </a:r>
            <a:r>
              <a:rPr kumimoji="1" lang="zh-CN" altLang="en-US" b="1" dirty="0" smtClean="0"/>
              <a:t> </a:t>
            </a:r>
            <a:r>
              <a:rPr kumimoji="1" lang="en-US" altLang="zh-CN" b="1" dirty="0" smtClean="0"/>
              <a:t>All</a:t>
            </a:r>
            <a:endParaRPr kumimoji="1" lang="zh-CN" altLang="en-US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b="1" dirty="0"/>
              <a:t>Read Euler, read Euler. He is the master of us all. </a:t>
            </a:r>
            <a:endParaRPr lang="en-US" altLang="zh-CN" b="1" dirty="0" smtClean="0"/>
          </a:p>
          <a:p>
            <a:pPr marL="0" indent="0">
              <a:buNone/>
            </a:pPr>
            <a:r>
              <a:rPr lang="zh-CN" altLang="en-US" dirty="0" smtClean="0"/>
              <a:t>                                        </a:t>
            </a:r>
            <a:r>
              <a:rPr lang="en-US" altLang="zh-CN" dirty="0" smtClean="0"/>
              <a:t>--</a:t>
            </a:r>
            <a:r>
              <a:rPr lang="en-US" altLang="zh-CN" dirty="0"/>
              <a:t>-P. S. de Laplace </a:t>
            </a:r>
          </a:p>
          <a:p>
            <a:pPr marL="0" indent="0">
              <a:buNone/>
            </a:pPr>
            <a:endParaRPr kumimoji="1" lang="en-US" altLang="zh-CN" dirty="0"/>
          </a:p>
          <a:p>
            <a:pPr marL="0" indent="0">
              <a:buNone/>
            </a:pPr>
            <a:r>
              <a:rPr lang="en-US" altLang="zh-CN" sz="4400" b="1" dirty="0">
                <a:solidFill>
                  <a:schemeClr val="accent2">
                    <a:lumMod val="75000"/>
                  </a:schemeClr>
                </a:solidFill>
              </a:rPr>
              <a:t>Study e, study e. It is the master of all</a:t>
            </a:r>
            <a:r>
              <a:rPr lang="en-US" altLang="zh-CN" sz="4400" b="1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</a:p>
          <a:p>
            <a:pPr marL="0" indent="0">
              <a:buNone/>
            </a:pPr>
            <a:r>
              <a:rPr lang="zh-CN" altLang="zh-CN" dirty="0"/>
              <a:t> </a:t>
            </a:r>
            <a:r>
              <a:rPr lang="zh-CN" altLang="en-US" dirty="0" smtClean="0"/>
              <a:t>                  </a:t>
            </a:r>
            <a:r>
              <a:rPr lang="en-US" altLang="zh-CN" dirty="0" smtClean="0"/>
              <a:t>---</a:t>
            </a:r>
            <a:r>
              <a:rPr lang="zh-CN" altLang="en-US" dirty="0" smtClean="0"/>
              <a:t>  </a:t>
            </a:r>
            <a:r>
              <a:rPr lang="en-US" altLang="zh-CN" dirty="0" smtClean="0"/>
              <a:t>American</a:t>
            </a:r>
            <a:r>
              <a:rPr lang="zh-CN" altLang="en-US" dirty="0" smtClean="0"/>
              <a:t> </a:t>
            </a:r>
            <a:r>
              <a:rPr lang="en-US" altLang="zh-CN" dirty="0" smtClean="0"/>
              <a:t>Mathematic</a:t>
            </a:r>
            <a:r>
              <a:rPr lang="zh-CN" altLang="en-US" dirty="0" smtClean="0"/>
              <a:t> </a:t>
            </a:r>
            <a:r>
              <a:rPr lang="en-US" altLang="zh-CN" dirty="0" smtClean="0"/>
              <a:t>Monthly</a:t>
            </a:r>
            <a:r>
              <a:rPr lang="zh-CN" altLang="en-US" dirty="0" smtClean="0"/>
              <a:t>, </a:t>
            </a:r>
            <a:r>
              <a:rPr lang="en-US" altLang="zh-CN" dirty="0" smtClean="0"/>
              <a:t>B.</a:t>
            </a:r>
            <a:r>
              <a:rPr lang="zh-CN" altLang="en-US" dirty="0" smtClean="0"/>
              <a:t> </a:t>
            </a:r>
            <a:r>
              <a:rPr lang="en-US" altLang="zh-CN" dirty="0" smtClean="0"/>
              <a:t>J.</a:t>
            </a:r>
            <a:r>
              <a:rPr lang="zh-CN" altLang="en-US" dirty="0" smtClean="0"/>
              <a:t> </a:t>
            </a:r>
            <a:r>
              <a:rPr lang="en-US" altLang="zh-CN" dirty="0" err="1" smtClean="0"/>
              <a:t>McCartin</a:t>
            </a:r>
            <a:endParaRPr lang="en-US" altLang="zh-CN" dirty="0" smtClean="0"/>
          </a:p>
          <a:p>
            <a:pPr marL="0" indent="0">
              <a:buNone/>
            </a:pPr>
            <a:endParaRPr kumimoji="1"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543205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"/>
    </mc:Choice>
    <mc:Fallback>
      <p:transition xmlns:p14="http://schemas.microsoft.com/office/powerpoint/2010/main" spd="slow" advTm="141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6407" y="151991"/>
            <a:ext cx="8175164" cy="6412113"/>
          </a:xfrm>
          <a:prstGeom prst="rect">
            <a:avLst/>
          </a:prstGeom>
        </p:spPr>
      </p:pic>
      <p:pic>
        <p:nvPicPr>
          <p:cNvPr id="4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46" y="1449602"/>
            <a:ext cx="3519909" cy="152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64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7"/>
    </mc:Choice>
    <mc:Fallback>
      <p:transition xmlns:p14="http://schemas.microsoft.com/office/powerpoint/2010/main" spd="slow" advTm="177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6810" y="274638"/>
            <a:ext cx="6925589" cy="1143000"/>
          </a:xfrm>
        </p:spPr>
        <p:txBody>
          <a:bodyPr/>
          <a:lstStyle/>
          <a:p>
            <a:r>
              <a:rPr lang="en-US" dirty="0" smtClean="0">
                <a:latin typeface="微软雅黑" pitchFamily="34" charset="-122"/>
              </a:rPr>
              <a:t>Donald</a:t>
            </a:r>
            <a:r>
              <a:rPr lang="zh-CN" altLang="en-US" dirty="0" smtClean="0">
                <a:latin typeface="微软雅黑" pitchFamily="34" charset="-122"/>
              </a:rPr>
              <a:t> </a:t>
            </a:r>
            <a:r>
              <a:rPr lang="en-US" altLang="zh-CN" dirty="0" smtClean="0">
                <a:latin typeface="微软雅黑" pitchFamily="34" charset="-122"/>
              </a:rPr>
              <a:t>E.</a:t>
            </a:r>
            <a:r>
              <a:rPr lang="zh-CN" altLang="en-US" dirty="0" smtClean="0">
                <a:latin typeface="微软雅黑" pitchFamily="34" charset="-122"/>
              </a:rPr>
              <a:t> </a:t>
            </a:r>
            <a:r>
              <a:rPr lang="en-US" dirty="0" smtClean="0">
                <a:latin typeface="微软雅黑" pitchFamily="34" charset="-122"/>
              </a:rPr>
              <a:t>Knuth</a:t>
            </a:r>
            <a:r>
              <a:rPr lang="en-US" altLang="zh-CN" dirty="0" smtClean="0">
                <a:latin typeface="微软雅黑" pitchFamily="34" charset="-122"/>
              </a:rPr>
              <a:t>(</a:t>
            </a:r>
            <a:r>
              <a:rPr lang="zh-CN" altLang="en-US" dirty="0" smtClean="0">
                <a:latin typeface="微软雅黑" pitchFamily="34" charset="-122"/>
              </a:rPr>
              <a:t>高纳德</a:t>
            </a:r>
            <a:r>
              <a:rPr lang="en-US" altLang="zh-CN" dirty="0" smtClean="0">
                <a:latin typeface="微软雅黑" pitchFamily="34" charset="-122"/>
              </a:rPr>
              <a:t>)</a:t>
            </a:r>
            <a:endParaRPr lang="en-US" dirty="0">
              <a:latin typeface="微软雅黑" pitchFamily="34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7937" y="304904"/>
            <a:ext cx="2624910" cy="359987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01114" y="2624486"/>
            <a:ext cx="5896269" cy="7694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457200">
              <a:spcBef>
                <a:spcPct val="0"/>
              </a:spcBef>
            </a:pPr>
            <a:r>
              <a:rPr lang="en-US" altLang="zh-CN" sz="3600" dirty="0">
                <a:latin typeface="微软雅黑" pitchFamily="34" charset="-122"/>
                <a:ea typeface="微软雅黑" pitchFamily="34" charset="-122"/>
                <a:cs typeface="+mj-cs"/>
              </a:rPr>
              <a:t>3,</a:t>
            </a:r>
            <a:r>
              <a:rPr lang="zh-CN" altLang="en-US" sz="3600" dirty="0">
                <a:latin typeface="微软雅黑" pitchFamily="34" charset="-122"/>
                <a:ea typeface="微软雅黑" pitchFamily="34" charset="-122"/>
                <a:cs typeface="+mj-cs"/>
              </a:rPr>
              <a:t> </a:t>
            </a:r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  <a:cs typeface="+mj-cs"/>
              </a:rPr>
              <a:t>3.1</a:t>
            </a:r>
            <a:r>
              <a:rPr lang="en-US" altLang="zh-CN" sz="3600" dirty="0">
                <a:latin typeface="微软雅黑" pitchFamily="34" charset="-122"/>
                <a:ea typeface="微软雅黑" pitchFamily="34" charset="-122"/>
                <a:cs typeface="+mj-cs"/>
              </a:rPr>
              <a:t>,</a:t>
            </a:r>
            <a:r>
              <a:rPr lang="zh-CN" altLang="en-US" sz="3600" dirty="0">
                <a:latin typeface="微软雅黑" pitchFamily="34" charset="-122"/>
                <a:ea typeface="微软雅黑" pitchFamily="34" charset="-122"/>
                <a:cs typeface="+mj-cs"/>
              </a:rPr>
              <a:t> </a:t>
            </a:r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  <a:cs typeface="+mj-cs"/>
              </a:rPr>
              <a:t>3.14,</a:t>
            </a:r>
            <a:r>
              <a:rPr lang="zh-CN" altLang="en-US" sz="3600" dirty="0" smtClean="0">
                <a:latin typeface="微软雅黑" pitchFamily="34" charset="-122"/>
                <a:ea typeface="微软雅黑" pitchFamily="34" charset="-122"/>
                <a:cs typeface="+mj-cs"/>
              </a:rPr>
              <a:t> </a:t>
            </a:r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  <a:cs typeface="+mj-cs"/>
              </a:rPr>
              <a:t>…</a:t>
            </a:r>
            <a:r>
              <a:rPr lang="zh-CN" altLang="en-US" sz="3600" dirty="0">
                <a:latin typeface="微软雅黑" pitchFamily="34" charset="-122"/>
                <a:ea typeface="微软雅黑" pitchFamily="34" charset="-122"/>
                <a:cs typeface="+mj-cs"/>
              </a:rPr>
              <a:t>,</a:t>
            </a:r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  <a:cs typeface="+mj-cs"/>
              </a:rPr>
              <a:t>3.14159265</a:t>
            </a:r>
            <a:endParaRPr lang="en-US" sz="3600" dirty="0"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19677" y="1714547"/>
            <a:ext cx="1315399" cy="7563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73172" y="4481446"/>
            <a:ext cx="3584114" cy="570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5333474" y="5350637"/>
            <a:ext cx="56717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latin typeface="微软雅黑" pitchFamily="34" charset="-122"/>
                <a:ea typeface="微软雅黑" pitchFamily="34" charset="-122"/>
              </a:rPr>
              <a:t>2, 2.7, 2.71, …, 2.7182818</a:t>
            </a:r>
            <a:endParaRPr lang="en-US" sz="36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23006" y="3976089"/>
            <a:ext cx="3782098" cy="280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914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29"/>
    </mc:Choice>
    <mc:Fallback>
      <p:transition xmlns:p14="http://schemas.microsoft.com/office/powerpoint/2010/main" spd="slow" advTm="229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7987" y="201627"/>
            <a:ext cx="5878004" cy="197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371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41"/>
    </mc:Choice>
    <mc:Fallback>
      <p:transition xmlns:p14="http://schemas.microsoft.com/office/powerpoint/2010/main" spd="slow" advTm="1341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1917" y="2493531"/>
            <a:ext cx="5405283" cy="1143000"/>
          </a:xfrm>
        </p:spPr>
        <p:txBody>
          <a:bodyPr>
            <a:noAutofit/>
          </a:bodyPr>
          <a:lstStyle/>
          <a:p>
            <a:pPr algn="l"/>
            <a:r>
              <a:rPr kumimoji="1" lang="en-US" altLang="zh-CN" sz="9600" b="1" dirty="0" smtClean="0">
                <a:solidFill>
                  <a:srgbClr val="FF0000"/>
                </a:solidFill>
              </a:rPr>
              <a:t>Merry</a:t>
            </a:r>
            <a:r>
              <a:rPr kumimoji="1" lang="zh-CN" altLang="en-US" sz="9600" b="1" dirty="0" smtClean="0">
                <a:solidFill>
                  <a:srgbClr val="FF0000"/>
                </a:solidFill>
              </a:rPr>
              <a:t>  </a:t>
            </a:r>
            <a:r>
              <a:rPr kumimoji="1" lang="en-US" altLang="zh-CN" sz="9600" b="1" dirty="0" smtClean="0">
                <a:solidFill>
                  <a:srgbClr val="FF0000"/>
                </a:solidFill>
              </a:rPr>
              <a:t>Xmas!</a:t>
            </a:r>
            <a:endParaRPr kumimoji="1" lang="zh-CN" altLang="en-US" sz="9600" b="1" dirty="0">
              <a:solidFill>
                <a:srgbClr val="FF0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8005" y="301860"/>
            <a:ext cx="7483995" cy="629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4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64"/>
    </mc:Choice>
    <mc:Fallback>
      <p:transition xmlns:p14="http://schemas.microsoft.com/office/powerpoint/2010/main" spd="slow" advTm="1264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zh-TW" dirty="0" smtClean="0">
                <a:latin typeface="微软雅黑" pitchFamily="34" charset="-122"/>
              </a:rPr>
              <a:t>Google </a:t>
            </a:r>
            <a:r>
              <a:rPr lang="zh-TW" altLang="en-US" dirty="0" smtClean="0">
                <a:latin typeface="微软雅黑" pitchFamily="34" charset="-122"/>
              </a:rPr>
              <a:t>是</a:t>
            </a:r>
            <a:r>
              <a:rPr lang="en-US" altLang="zh-TW" dirty="0" smtClean="0">
                <a:latin typeface="微软雅黑" pitchFamily="34" charset="-122"/>
              </a:rPr>
              <a:t>e</a:t>
            </a:r>
            <a:r>
              <a:rPr lang="zh-TW" altLang="en-US" dirty="0" smtClean="0">
                <a:latin typeface="微软雅黑" pitchFamily="34" charset="-122"/>
              </a:rPr>
              <a:t>的大粉丝</a:t>
            </a:r>
            <a:endParaRPr lang="en-US" dirty="0">
              <a:latin typeface="微软雅黑" pitchFamily="34" charset="-122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49" y="1945004"/>
            <a:ext cx="6631066" cy="1255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85891" y="0"/>
            <a:ext cx="5206109" cy="6858000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23160" y="3157306"/>
            <a:ext cx="3329940" cy="345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506" y="586514"/>
            <a:ext cx="2149343" cy="738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151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02474"/>
    </mc:Choice>
    <mc:Fallback>
      <p:transition xmlns:p14="http://schemas.microsoft.com/office/powerpoint/2010/main" spd="slow" advTm="1902474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数学粉丝</a:t>
            </a:r>
            <a:r>
              <a:rPr lang="zh-CN" altLang="en-US" dirty="0" smtClean="0">
                <a:latin typeface="微软雅黑" pitchFamily="34" charset="-122"/>
              </a:rPr>
              <a:t>对 </a:t>
            </a:r>
            <a:r>
              <a:rPr lang="en-US" altLang="zh-CN" dirty="0" smtClean="0">
                <a:latin typeface="微软雅黑" pitchFamily="34" charset="-122"/>
              </a:rPr>
              <a:t>e </a:t>
            </a:r>
            <a:r>
              <a:rPr lang="zh-CN" altLang="en-US" dirty="0" smtClean="0"/>
              <a:t>的钟爱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38667" y="2011970"/>
            <a:ext cx="3285757" cy="32857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14319" y="2009311"/>
            <a:ext cx="3338552" cy="333855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3567" y="1172757"/>
            <a:ext cx="3032843" cy="2204134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8140" y="3852063"/>
            <a:ext cx="2806703" cy="28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1280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3"/>
    </mc:Choice>
    <mc:Fallback>
      <p:transition xmlns:p14="http://schemas.microsoft.com/office/powerpoint/2010/main" spd="slow" advTm="93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650" y="2407179"/>
            <a:ext cx="3314700" cy="3606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747" y="620713"/>
            <a:ext cx="3314700" cy="36068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8690" y="2659789"/>
            <a:ext cx="3810000" cy="33401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65760" y="24415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微软雅黑" pitchFamily="34" charset="-122"/>
                <a:cs typeface="+mj-cs"/>
              </a:rPr>
              <a:t>数学粉丝对 </a:t>
            </a:r>
            <a:r>
              <a:rPr kumimoji="0" lang="en-US" altLang="zh-CN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e </a:t>
            </a: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的</a:t>
            </a: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微软雅黑" pitchFamily="34" charset="-122"/>
                <a:cs typeface="+mj-cs"/>
              </a:rPr>
              <a:t>钟爱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微软雅黑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95192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8"/>
    </mc:Choice>
    <mc:Fallback>
      <p:transition xmlns:p14="http://schemas.microsoft.com/office/powerpoint/2010/main" spd="slow" advTm="98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431719"/>
            <a:ext cx="3397802" cy="339780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019569" y="1153222"/>
            <a:ext cx="2952641" cy="2952641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65760" y="24415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微软雅黑" pitchFamily="34" charset="-122"/>
                <a:cs typeface="+mj-cs"/>
              </a:rPr>
              <a:t>数学粉丝对 </a:t>
            </a:r>
            <a:r>
              <a:rPr kumimoji="0" lang="en-US" altLang="zh-CN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e </a:t>
            </a: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的</a:t>
            </a:r>
            <a:r>
              <a:rPr kumimoji="0" lang="zh-CN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微软雅黑" pitchFamily="34" charset="-122"/>
                <a:cs typeface="+mj-cs"/>
              </a:rPr>
              <a:t>钟爱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微软雅黑" pitchFamily="34" charset="-122"/>
              <a:cs typeface="+mj-cs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963859" y="4293573"/>
            <a:ext cx="2506338" cy="2284079"/>
          </a:xfrm>
          <a:prstGeom prst="rect">
            <a:avLst/>
          </a:prstGeom>
        </p:spPr>
      </p:pic>
      <p:pic>
        <p:nvPicPr>
          <p:cNvPr id="9" name="Picture 2" descr="http://www.titaniumringsforever.com/files/imagecache/product_full/rings/formula-euler-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775" y="742973"/>
            <a:ext cx="2603653" cy="260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04677" y="566611"/>
            <a:ext cx="2011961" cy="340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543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5"/>
    </mc:Choice>
    <mc:Fallback>
      <p:transition xmlns:p14="http://schemas.microsoft.com/office/powerpoint/2010/main" spd="slow" advTm="125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310" y="1198671"/>
            <a:ext cx="3801880" cy="205333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6911" y="573991"/>
            <a:ext cx="2543306" cy="254330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935" y="4588740"/>
            <a:ext cx="4155449" cy="1590758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2766" y="776961"/>
            <a:ext cx="2757422" cy="206806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7862" y="3262877"/>
            <a:ext cx="4025084" cy="301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431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2"/>
    </mc:Choice>
    <mc:Fallback>
      <p:transition xmlns:p14="http://schemas.microsoft.com/office/powerpoint/2010/main" spd="slow" advTm="132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470" y="1038114"/>
            <a:ext cx="5295900" cy="533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663" y="1484324"/>
            <a:ext cx="4947111" cy="4582587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842045" y="822548"/>
            <a:ext cx="48013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chemeClr val="accent2">
                    <a:lumMod val="75000"/>
                  </a:schemeClr>
                </a:solidFill>
                <a:ea typeface="微软雅黑" pitchFamily="34" charset="-122"/>
              </a:rPr>
              <a:t>数学家就是把咖啡变成定理的机器</a:t>
            </a:r>
          </a:p>
        </p:txBody>
      </p:sp>
    </p:spTree>
    <p:extLst>
      <p:ext uri="{BB962C8B-B14F-4D97-AF65-F5344CB8AC3E}">
        <p14:creationId xmlns:p14="http://schemas.microsoft.com/office/powerpoint/2010/main" val="29708651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8"/>
    </mc:Choice>
    <mc:Fallback>
      <p:transition xmlns:p14="http://schemas.microsoft.com/office/powerpoint/2010/main" spd="slow" advTm="148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569" y="170506"/>
            <a:ext cx="6096000" cy="6096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3998" y="2226073"/>
            <a:ext cx="2717800" cy="215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272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3"/>
    </mc:Choice>
    <mc:Fallback>
      <p:transition xmlns:p14="http://schemas.microsoft.com/office/powerpoint/2010/main" spd="slow" advTm="133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2807" y="1021333"/>
            <a:ext cx="7594039" cy="5062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619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9"/>
    </mc:Choice>
    <mc:Fallback>
      <p:transition xmlns:p14="http://schemas.microsoft.com/office/powerpoint/2010/main" spd="slow" advTm="119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NQQeOY.Uecwg12FXja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36</TotalTime>
  <Words>401</Words>
  <Application>Microsoft Macintosh PowerPoint</Application>
  <PresentationFormat>自定义</PresentationFormat>
  <Paragraphs>55</Paragraphs>
  <Slides>15</Slides>
  <Notes>5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6" baseType="lpstr">
      <vt:lpstr>Office Theme</vt:lpstr>
      <vt:lpstr>传奇e事 — e 粉情缘  rickjin</vt:lpstr>
      <vt:lpstr>Google 是e的大粉丝</vt:lpstr>
      <vt:lpstr>数学粉丝对 e 的钟爱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e:  The Master of All</vt:lpstr>
      <vt:lpstr>PowerPoint 演示文稿</vt:lpstr>
      <vt:lpstr>Donald E. Knuth(高纳德)</vt:lpstr>
      <vt:lpstr>PowerPoint 演示文稿</vt:lpstr>
      <vt:lpstr>Merry  Xmas!</vt:lpstr>
    </vt:vector>
  </TitlesOfParts>
  <Company>TENCE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minzhao(赵学敏)</dc:creator>
  <cp:lastModifiedBy>JINZHIHUI</cp:lastModifiedBy>
  <cp:revision>851</cp:revision>
  <dcterms:created xsi:type="dcterms:W3CDTF">2015-01-07T06:49:21Z</dcterms:created>
  <dcterms:modified xsi:type="dcterms:W3CDTF">2015-12-13T15:10:39Z</dcterms:modified>
</cp:coreProperties>
</file>